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16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0B530C2-247D-430D-9417-705FF32F0326}" v="49" dt="2023-03-08T23:30:27.34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52"/>
        <p:guide pos="7584"/>
        <p:guide orient="horz" pos="4032"/>
        <p:guide pos="96"/>
        <p:guide pos="2856"/>
        <p:guide pos="576"/>
        <p:guide orient="horz" pos="3840"/>
        <p:guide orient="horz" pos="816"/>
        <p:guide orient="horz" pos="1032"/>
        <p:guide orient="horz" pos="3600"/>
        <p:guide orient="horz"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F0B530C2-247D-430D-9417-705FF32F0326}"/>
    <pc:docChg chg="modSld">
      <pc:chgData name="Roberto Gallardo" userId="49a044883f185952" providerId="LiveId" clId="{F0B530C2-247D-430D-9417-705FF32F0326}" dt="2023-03-08T23:30:37.856" v="215" actId="1076"/>
      <pc:docMkLst>
        <pc:docMk/>
      </pc:docMkLst>
      <pc:sldChg chg="addSp modSp mod">
        <pc:chgData name="Roberto Gallardo" userId="49a044883f185952" providerId="LiveId" clId="{F0B530C2-247D-430D-9417-705FF32F0326}" dt="2023-03-08T23:25:09.317" v="43" actId="1076"/>
        <pc:sldMkLst>
          <pc:docMk/>
          <pc:sldMk cId="1418533539" sldId="271"/>
        </pc:sldMkLst>
        <pc:picChg chg="add mod">
          <ac:chgData name="Roberto Gallardo" userId="49a044883f185952" providerId="LiveId" clId="{F0B530C2-247D-430D-9417-705FF32F0326}" dt="2023-03-08T23:25:09.317" v="43" actId="1076"/>
          <ac:picMkLst>
            <pc:docMk/>
            <pc:sldMk cId="1418533539" sldId="271"/>
            <ac:picMk id="6" creationId="{02274AB2-9836-4E4D-C101-50813EE1CDA4}"/>
          </ac:picMkLst>
        </pc:picChg>
      </pc:sldChg>
      <pc:sldChg chg="addSp modSp mod">
        <pc:chgData name="Roberto Gallardo" userId="49a044883f185952" providerId="LiveId" clId="{F0B530C2-247D-430D-9417-705FF32F0326}" dt="2023-03-08T23:27:00.756" v="94" actId="1076"/>
        <pc:sldMkLst>
          <pc:docMk/>
          <pc:sldMk cId="2124848710" sldId="281"/>
        </pc:sldMkLst>
        <pc:picChg chg="add mod">
          <ac:chgData name="Roberto Gallardo" userId="49a044883f185952" providerId="LiveId" clId="{F0B530C2-247D-430D-9417-705FF32F0326}" dt="2023-03-08T23:27:00.756" v="94" actId="1076"/>
          <ac:picMkLst>
            <pc:docMk/>
            <pc:sldMk cId="2124848710" sldId="281"/>
            <ac:picMk id="6" creationId="{A34CF6EC-1911-36C2-2B77-C1C925CB5CF2}"/>
          </ac:picMkLst>
        </pc:picChg>
      </pc:sldChg>
      <pc:sldChg chg="addSp modSp mod">
        <pc:chgData name="Roberto Gallardo" userId="49a044883f185952" providerId="LiveId" clId="{F0B530C2-247D-430D-9417-705FF32F0326}" dt="2023-03-08T23:27:14.088" v="102" actId="1076"/>
        <pc:sldMkLst>
          <pc:docMk/>
          <pc:sldMk cId="2028175529" sldId="282"/>
        </pc:sldMkLst>
        <pc:picChg chg="add mod">
          <ac:chgData name="Roberto Gallardo" userId="49a044883f185952" providerId="LiveId" clId="{F0B530C2-247D-430D-9417-705FF32F0326}" dt="2023-03-08T23:27:14.088" v="102" actId="1076"/>
          <ac:picMkLst>
            <pc:docMk/>
            <pc:sldMk cId="2028175529" sldId="282"/>
            <ac:picMk id="7" creationId="{22A14F56-22CD-199B-5B7E-2766ED201440}"/>
          </ac:picMkLst>
        </pc:picChg>
      </pc:sldChg>
      <pc:sldChg chg="addSp modSp mod">
        <pc:chgData name="Roberto Gallardo" userId="49a044883f185952" providerId="LiveId" clId="{F0B530C2-247D-430D-9417-705FF32F0326}" dt="2023-03-08T23:27:32.397" v="111" actId="1038"/>
        <pc:sldMkLst>
          <pc:docMk/>
          <pc:sldMk cId="1326517747" sldId="283"/>
        </pc:sldMkLst>
        <pc:picChg chg="add mod">
          <ac:chgData name="Roberto Gallardo" userId="49a044883f185952" providerId="LiveId" clId="{F0B530C2-247D-430D-9417-705FF32F0326}" dt="2023-03-08T23:27:32.397" v="111" actId="1038"/>
          <ac:picMkLst>
            <pc:docMk/>
            <pc:sldMk cId="1326517747" sldId="283"/>
            <ac:picMk id="7" creationId="{CA215E8C-7CB0-A184-B434-20575C53929B}"/>
          </ac:picMkLst>
        </pc:picChg>
      </pc:sldChg>
      <pc:sldChg chg="addSp modSp mod">
        <pc:chgData name="Roberto Gallardo" userId="49a044883f185952" providerId="LiveId" clId="{F0B530C2-247D-430D-9417-705FF32F0326}" dt="2023-03-08T23:27:55.893" v="120" actId="1076"/>
        <pc:sldMkLst>
          <pc:docMk/>
          <pc:sldMk cId="783739251" sldId="284"/>
        </pc:sldMkLst>
        <pc:picChg chg="add mod">
          <ac:chgData name="Roberto Gallardo" userId="49a044883f185952" providerId="LiveId" clId="{F0B530C2-247D-430D-9417-705FF32F0326}" dt="2023-03-08T23:27:55.893" v="120" actId="1076"/>
          <ac:picMkLst>
            <pc:docMk/>
            <pc:sldMk cId="783739251" sldId="284"/>
            <ac:picMk id="7" creationId="{E4BB71A8-5C33-A18D-8317-11B75BF30ADB}"/>
          </ac:picMkLst>
        </pc:picChg>
      </pc:sldChg>
      <pc:sldChg chg="addSp modSp mod">
        <pc:chgData name="Roberto Gallardo" userId="49a044883f185952" providerId="LiveId" clId="{F0B530C2-247D-430D-9417-705FF32F0326}" dt="2023-03-08T23:28:15.421" v="129" actId="1076"/>
        <pc:sldMkLst>
          <pc:docMk/>
          <pc:sldMk cId="1676122233" sldId="285"/>
        </pc:sldMkLst>
        <pc:picChg chg="add mod">
          <ac:chgData name="Roberto Gallardo" userId="49a044883f185952" providerId="LiveId" clId="{F0B530C2-247D-430D-9417-705FF32F0326}" dt="2023-03-08T23:28:15.421" v="129" actId="1076"/>
          <ac:picMkLst>
            <pc:docMk/>
            <pc:sldMk cId="1676122233" sldId="285"/>
            <ac:picMk id="7" creationId="{D1C9C2CD-B53D-EA7D-1D46-8608626ADC41}"/>
          </ac:picMkLst>
        </pc:picChg>
      </pc:sldChg>
      <pc:sldChg chg="addSp modSp mod">
        <pc:chgData name="Roberto Gallardo" userId="49a044883f185952" providerId="LiveId" clId="{F0B530C2-247D-430D-9417-705FF32F0326}" dt="2023-03-08T23:28:33.789" v="141" actId="1076"/>
        <pc:sldMkLst>
          <pc:docMk/>
          <pc:sldMk cId="3100398757" sldId="286"/>
        </pc:sldMkLst>
        <pc:picChg chg="add mod">
          <ac:chgData name="Roberto Gallardo" userId="49a044883f185952" providerId="LiveId" clId="{F0B530C2-247D-430D-9417-705FF32F0326}" dt="2023-03-08T23:28:33.789" v="141" actId="1076"/>
          <ac:picMkLst>
            <pc:docMk/>
            <pc:sldMk cId="3100398757" sldId="286"/>
            <ac:picMk id="7" creationId="{DE59253F-13D7-1C3E-3D16-9334FB05B281}"/>
          </ac:picMkLst>
        </pc:picChg>
      </pc:sldChg>
      <pc:sldChg chg="addSp modSp mod">
        <pc:chgData name="Roberto Gallardo" userId="49a044883f185952" providerId="LiveId" clId="{F0B530C2-247D-430D-9417-705FF32F0326}" dt="2023-03-08T23:28:55.656" v="154" actId="1076"/>
        <pc:sldMkLst>
          <pc:docMk/>
          <pc:sldMk cId="1546475425" sldId="287"/>
        </pc:sldMkLst>
        <pc:picChg chg="add mod">
          <ac:chgData name="Roberto Gallardo" userId="49a044883f185952" providerId="LiveId" clId="{F0B530C2-247D-430D-9417-705FF32F0326}" dt="2023-03-08T23:28:55.656" v="154" actId="1076"/>
          <ac:picMkLst>
            <pc:docMk/>
            <pc:sldMk cId="1546475425" sldId="287"/>
            <ac:picMk id="7" creationId="{EBF1B088-0D0D-B7A3-A6A1-82B25F4E7AA4}"/>
          </ac:picMkLst>
        </pc:picChg>
      </pc:sldChg>
      <pc:sldChg chg="addSp modSp mod">
        <pc:chgData name="Roberto Gallardo" userId="49a044883f185952" providerId="LiveId" clId="{F0B530C2-247D-430D-9417-705FF32F0326}" dt="2023-03-08T23:29:29.456" v="173" actId="1076"/>
        <pc:sldMkLst>
          <pc:docMk/>
          <pc:sldMk cId="1380517306" sldId="288"/>
        </pc:sldMkLst>
        <pc:picChg chg="add mod">
          <ac:chgData name="Roberto Gallardo" userId="49a044883f185952" providerId="LiveId" clId="{F0B530C2-247D-430D-9417-705FF32F0326}" dt="2023-03-08T23:29:29.456" v="173" actId="1076"/>
          <ac:picMkLst>
            <pc:docMk/>
            <pc:sldMk cId="1380517306" sldId="288"/>
            <ac:picMk id="7" creationId="{BF317F41-A77C-DF2B-2313-B266770BC798}"/>
          </ac:picMkLst>
        </pc:picChg>
      </pc:sldChg>
      <pc:sldChg chg="addSp modSp mod">
        <pc:chgData name="Roberto Gallardo" userId="49a044883f185952" providerId="LiveId" clId="{F0B530C2-247D-430D-9417-705FF32F0326}" dt="2023-03-08T23:29:45.329" v="182" actId="1076"/>
        <pc:sldMkLst>
          <pc:docMk/>
          <pc:sldMk cId="1388671151" sldId="289"/>
        </pc:sldMkLst>
        <pc:picChg chg="add mod">
          <ac:chgData name="Roberto Gallardo" userId="49a044883f185952" providerId="LiveId" clId="{F0B530C2-247D-430D-9417-705FF32F0326}" dt="2023-03-08T23:29:45.329" v="182" actId="1076"/>
          <ac:picMkLst>
            <pc:docMk/>
            <pc:sldMk cId="1388671151" sldId="289"/>
            <ac:picMk id="7" creationId="{6CBE341B-2CA4-9B4A-0FA6-4BAC61A223AA}"/>
          </ac:picMkLst>
        </pc:picChg>
      </pc:sldChg>
      <pc:sldChg chg="addSp modSp mod">
        <pc:chgData name="Roberto Gallardo" userId="49a044883f185952" providerId="LiveId" clId="{F0B530C2-247D-430D-9417-705FF32F0326}" dt="2023-03-08T23:30:21.161" v="205" actId="1076"/>
        <pc:sldMkLst>
          <pc:docMk/>
          <pc:sldMk cId="2355376039" sldId="290"/>
        </pc:sldMkLst>
        <pc:picChg chg="add mod">
          <ac:chgData name="Roberto Gallardo" userId="49a044883f185952" providerId="LiveId" clId="{F0B530C2-247D-430D-9417-705FF32F0326}" dt="2023-03-08T23:30:21.161" v="205" actId="1076"/>
          <ac:picMkLst>
            <pc:docMk/>
            <pc:sldMk cId="2355376039" sldId="290"/>
            <ac:picMk id="8" creationId="{77B431B9-3F18-2962-F964-026F58D9490B}"/>
          </ac:picMkLst>
        </pc:picChg>
      </pc:sldChg>
      <pc:sldChg chg="addSp modSp mod">
        <pc:chgData name="Roberto Gallardo" userId="49a044883f185952" providerId="LiveId" clId="{F0B530C2-247D-430D-9417-705FF32F0326}" dt="2023-03-08T23:30:37.856" v="215" actId="1076"/>
        <pc:sldMkLst>
          <pc:docMk/>
          <pc:sldMk cId="3757257295" sldId="291"/>
        </pc:sldMkLst>
        <pc:picChg chg="add mod">
          <ac:chgData name="Roberto Gallardo" userId="49a044883f185952" providerId="LiveId" clId="{F0B530C2-247D-430D-9417-705FF32F0326}" dt="2023-03-08T23:30:37.856" v="215" actId="1076"/>
          <ac:picMkLst>
            <pc:docMk/>
            <pc:sldMk cId="3757257295" sldId="291"/>
            <ac:picMk id="8" creationId="{C9649655-2E3D-A6EF-CEB2-B9AA0E2FACDC}"/>
          </ac:picMkLst>
        </pc:picChg>
      </pc:sldChg>
      <pc:sldChg chg="addSp modSp mod">
        <pc:chgData name="Roberto Gallardo" userId="49a044883f185952" providerId="LiveId" clId="{F0B530C2-247D-430D-9417-705FF32F0326}" dt="2023-03-08T23:29:12.273" v="162" actId="1076"/>
        <pc:sldMkLst>
          <pc:docMk/>
          <pc:sldMk cId="1259856727" sldId="292"/>
        </pc:sldMkLst>
        <pc:picChg chg="add mod">
          <ac:chgData name="Roberto Gallardo" userId="49a044883f185952" providerId="LiveId" clId="{F0B530C2-247D-430D-9417-705FF32F0326}" dt="2023-03-08T23:29:12.273" v="162" actId="1076"/>
          <ac:picMkLst>
            <pc:docMk/>
            <pc:sldMk cId="1259856727" sldId="292"/>
            <ac:picMk id="7" creationId="{4881640F-43C6-1A13-C2F7-648B4D82857F}"/>
          </ac:picMkLst>
        </pc:picChg>
      </pc:sldChg>
      <pc:sldChg chg="addSp modSp mod">
        <pc:chgData name="Roberto Gallardo" userId="49a044883f185952" providerId="LiveId" clId="{F0B530C2-247D-430D-9417-705FF32F0326}" dt="2023-03-08T23:26:42.648" v="84" actId="1076"/>
        <pc:sldMkLst>
          <pc:docMk/>
          <pc:sldMk cId="3324519687" sldId="293"/>
        </pc:sldMkLst>
        <pc:picChg chg="add mod">
          <ac:chgData name="Roberto Gallardo" userId="49a044883f185952" providerId="LiveId" clId="{F0B530C2-247D-430D-9417-705FF32F0326}" dt="2023-03-08T23:26:42.648" v="84" actId="1076"/>
          <ac:picMkLst>
            <pc:docMk/>
            <pc:sldMk cId="3324519687" sldId="293"/>
            <ac:picMk id="7" creationId="{7B48DADF-D6F6-9AFB-D23A-7EEF49D8C031}"/>
          </ac:picMkLst>
        </pc:picChg>
      </pc:sldChg>
      <pc:sldChg chg="addSp modSp mod">
        <pc:chgData name="Roberto Gallardo" userId="49a044883f185952" providerId="LiveId" clId="{F0B530C2-247D-430D-9417-705FF32F0326}" dt="2023-03-08T23:25:57.177" v="66" actId="1076"/>
        <pc:sldMkLst>
          <pc:docMk/>
          <pc:sldMk cId="3256182630" sldId="295"/>
        </pc:sldMkLst>
        <pc:picChg chg="add mod">
          <ac:chgData name="Roberto Gallardo" userId="49a044883f185952" providerId="LiveId" clId="{F0B530C2-247D-430D-9417-705FF32F0326}" dt="2023-03-08T23:25:57.177" v="66" actId="1076"/>
          <ac:picMkLst>
            <pc:docMk/>
            <pc:sldMk cId="3256182630" sldId="295"/>
            <ac:picMk id="7" creationId="{CE8AA23B-F02D-1848-59C5-92C52A8BD58E}"/>
          </ac:picMkLst>
        </pc:picChg>
      </pc:sldChg>
      <pc:sldChg chg="addSp modSp mod">
        <pc:chgData name="Roberto Gallardo" userId="49a044883f185952" providerId="LiveId" clId="{F0B530C2-247D-430D-9417-705FF32F0326}" dt="2023-03-08T23:26:26.289" v="76" actId="1076"/>
        <pc:sldMkLst>
          <pc:docMk/>
          <pc:sldMk cId="4057156843" sldId="296"/>
        </pc:sldMkLst>
        <pc:picChg chg="add mod">
          <ac:chgData name="Roberto Gallardo" userId="49a044883f185952" providerId="LiveId" clId="{F0B530C2-247D-430D-9417-705FF32F0326}" dt="2023-03-08T23:26:26.289" v="76" actId="1076"/>
          <ac:picMkLst>
            <pc:docMk/>
            <pc:sldMk cId="4057156843" sldId="296"/>
            <ac:picMk id="7" creationId="{84DCB519-9AA1-9134-F99D-11354E706F08}"/>
          </ac:picMkLst>
        </pc:picChg>
      </pc:sldChg>
      <pc:sldChg chg="addSp modSp mod">
        <pc:chgData name="Roberto Gallardo" userId="49a044883f185952" providerId="LiveId" clId="{F0B530C2-247D-430D-9417-705FF32F0326}" dt="2023-03-08T23:25:39.169" v="57" actId="1076"/>
        <pc:sldMkLst>
          <pc:docMk/>
          <pc:sldMk cId="2080110827" sldId="297"/>
        </pc:sldMkLst>
        <pc:picChg chg="add mod">
          <ac:chgData name="Roberto Gallardo" userId="49a044883f185952" providerId="LiveId" clId="{F0B530C2-247D-430D-9417-705FF32F0326}" dt="2023-03-08T23:25:39.169" v="57" actId="1076"/>
          <ac:picMkLst>
            <pc:docMk/>
            <pc:sldMk cId="2080110827" sldId="297"/>
            <ac:picMk id="6" creationId="{FD3ED974-3D76-1C91-2C0D-807D0D2337A1}"/>
          </ac:picMkLst>
        </pc:picChg>
      </pc:sldChg>
      <pc:sldChg chg="addSp modSp mod">
        <pc:chgData name="Roberto Gallardo" userId="49a044883f185952" providerId="LiveId" clId="{F0B530C2-247D-430D-9417-705FF32F0326}" dt="2023-03-08T23:25:23.300" v="50" actId="1076"/>
        <pc:sldMkLst>
          <pc:docMk/>
          <pc:sldMk cId="1532666867" sldId="298"/>
        </pc:sldMkLst>
        <pc:picChg chg="add mod">
          <ac:chgData name="Roberto Gallardo" userId="49a044883f185952" providerId="LiveId" clId="{F0B530C2-247D-430D-9417-705FF32F0326}" dt="2023-03-08T23:25:23.300" v="50" actId="1076"/>
          <ac:picMkLst>
            <pc:docMk/>
            <pc:sldMk cId="1532666867" sldId="298"/>
            <ac:picMk id="6" creationId="{D2F606D3-098F-3001-F21C-6EEFA14D836A}"/>
          </ac:picMkLst>
        </pc:picChg>
      </pc:sldChg>
      <pc:sldChg chg="addSp modSp mod">
        <pc:chgData name="Roberto Gallardo" userId="49a044883f185952" providerId="LiveId" clId="{F0B530C2-247D-430D-9417-705FF32F0326}" dt="2023-03-08T23:30:02.985" v="193" actId="1076"/>
        <pc:sldMkLst>
          <pc:docMk/>
          <pc:sldMk cId="1951376777" sldId="299"/>
        </pc:sldMkLst>
        <pc:picChg chg="add mod">
          <ac:chgData name="Roberto Gallardo" userId="49a044883f185952" providerId="LiveId" clId="{F0B530C2-247D-430D-9417-705FF32F0326}" dt="2023-03-08T23:30:02.985" v="193" actId="1076"/>
          <ac:picMkLst>
            <pc:docMk/>
            <pc:sldMk cId="1951376777" sldId="299"/>
            <ac:picMk id="7" creationId="{3E1AA0F8-2740-CE2A-96C7-CF919D17127E}"/>
          </ac:picMkLst>
        </pc:picChg>
      </pc:sldChg>
      <pc:sldChg chg="modSp mod">
        <pc:chgData name="Roberto Gallardo" userId="49a044883f185952" providerId="LiveId" clId="{F0B530C2-247D-430D-9417-705FF32F0326}" dt="2023-02-25T18:49:55.089" v="30" actId="14100"/>
        <pc:sldMkLst>
          <pc:docMk/>
          <pc:sldMk cId="2366022307" sldId="306"/>
        </pc:sldMkLst>
        <pc:spChg chg="mod">
          <ac:chgData name="Roberto Gallardo" userId="49a044883f185952" providerId="LiveId" clId="{F0B530C2-247D-430D-9417-705FF32F0326}" dt="2023-02-25T18:49:41.399" v="15" actId="1036"/>
          <ac:spMkLst>
            <pc:docMk/>
            <pc:sldMk cId="2366022307" sldId="306"/>
            <ac:spMk id="11" creationId="{09F5AE19-B4E3-7788-F25F-CDA80D596DAF}"/>
          </ac:spMkLst>
        </pc:spChg>
        <pc:grpChg chg="mod">
          <ac:chgData name="Roberto Gallardo" userId="49a044883f185952" providerId="LiveId" clId="{F0B530C2-247D-430D-9417-705FF32F0326}" dt="2023-02-25T18:49:36.296" v="7" actId="1035"/>
          <ac:grpSpMkLst>
            <pc:docMk/>
            <pc:sldMk cId="2366022307" sldId="306"/>
            <ac:grpSpMk id="6" creationId="{4BC0EAD3-A621-359E-F822-1BC272A15D80}"/>
          </ac:grpSpMkLst>
        </pc:grpChg>
        <pc:cxnChg chg="mod">
          <ac:chgData name="Roberto Gallardo" userId="49a044883f185952" providerId="LiveId" clId="{F0B530C2-247D-430D-9417-705FF32F0326}" dt="2023-02-25T18:49:46.481" v="28" actId="1035"/>
          <ac:cxnSpMkLst>
            <pc:docMk/>
            <pc:sldMk cId="2366022307" sldId="306"/>
            <ac:cxnSpMk id="27" creationId="{F0CF8142-8895-D0A8-A662-E40568742508}"/>
          </ac:cxnSpMkLst>
        </pc:cxnChg>
        <pc:cxnChg chg="mod">
          <ac:chgData name="Roberto Gallardo" userId="49a044883f185952" providerId="LiveId" clId="{F0B530C2-247D-430D-9417-705FF32F0326}" dt="2023-02-25T18:49:50.900" v="29" actId="14100"/>
          <ac:cxnSpMkLst>
            <pc:docMk/>
            <pc:sldMk cId="2366022307" sldId="306"/>
            <ac:cxnSpMk id="28" creationId="{15C28C80-F0E1-159F-F103-CEA53436F6F9}"/>
          </ac:cxnSpMkLst>
        </pc:cxnChg>
        <pc:cxnChg chg="mod">
          <ac:chgData name="Roberto Gallardo" userId="49a044883f185952" providerId="LiveId" clId="{F0B530C2-247D-430D-9417-705FF32F0326}" dt="2023-02-25T18:49:55.089" v="30" actId="14100"/>
          <ac:cxnSpMkLst>
            <pc:docMk/>
            <pc:sldMk cId="2366022307" sldId="306"/>
            <ac:cxnSpMk id="29" creationId="{783CFD35-8D28-EF95-B783-8C1E52BEC855}"/>
          </ac:cxnSpMkLst>
        </pc:cxn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8/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8/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8/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a:solidFill>
                  <a:schemeClr val="bg1"/>
                </a:solidFill>
              </a:rPr>
              <a:t>Person </a:t>
            </a:r>
            <a:r>
              <a:rPr lang="en-US" sz="4000" dirty="0">
                <a:solidFill>
                  <a:schemeClr val="bg1"/>
                </a:solidFill>
              </a:rPr>
              <a:t>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65E87321-1523-2723-8C34-3584AE5151BF}"/>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BEFEA8B4-C7DF-BB09-3080-144563E0CF8F}"/>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Diagram&#10;&#10;Description automatically generated">
            <a:extLst>
              <a:ext uri="{FF2B5EF4-FFF2-40B4-BE49-F238E27FC236}">
                <a16:creationId xmlns:a16="http://schemas.microsoft.com/office/drawing/2014/main" id="{02274AB2-9836-4E4D-C101-50813EE1CDA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06120" y="1028700"/>
            <a:ext cx="8303560"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D2F606D3-098F-3001-F21C-6EEFA14D83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41016" y="1028700"/>
            <a:ext cx="8309968"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FD3ED974-3D76-1C91-2C0D-807D0D2337A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02916" y="1028700"/>
            <a:ext cx="8309968"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FA22397F-237E-2430-25C7-B1546E3E3F7E}"/>
              </a:ext>
            </a:extLst>
          </p:cNvPr>
          <p:cNvPicPr preferRelativeResize="0"/>
          <p:nvPr/>
        </p:nvPicPr>
        <p:blipFill>
          <a:blip r:embed="rId2"/>
          <a:stretch>
            <a:fillRect/>
          </a:stretch>
        </p:blipFill>
        <p:spPr>
          <a:xfrm>
            <a:off x="149225" y="1763713"/>
            <a:ext cx="5337175" cy="3829050"/>
          </a:xfrm>
          <a:prstGeom prst="rect">
            <a:avLst/>
          </a:prstGeom>
        </p:spPr>
      </p:pic>
      <p:pic>
        <p:nvPicPr>
          <p:cNvPr id="7" name="Picture 6" descr="Map&#10;&#10;Description automatically generated">
            <a:extLst>
              <a:ext uri="{FF2B5EF4-FFF2-40B4-BE49-F238E27FC236}">
                <a16:creationId xmlns:a16="http://schemas.microsoft.com/office/drawing/2014/main" id="{CE8AA23B-F02D-1848-59C5-92C52A8BD5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5625" y="1357431"/>
            <a:ext cx="6403975" cy="4143138"/>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1DFB454C-8534-B4A8-D6A0-E83B4483D8AD}"/>
              </a:ext>
            </a:extLst>
          </p:cNvPr>
          <p:cNvPicPr preferRelativeResize="0"/>
          <p:nvPr/>
        </p:nvPicPr>
        <p:blipFill>
          <a:blip r:embed="rId2"/>
          <a:stretch>
            <a:fillRect/>
          </a:stretch>
        </p:blipFill>
        <p:spPr>
          <a:xfrm>
            <a:off x="149225" y="1754188"/>
            <a:ext cx="5372100" cy="3844925"/>
          </a:xfrm>
          <a:prstGeom prst="rect">
            <a:avLst/>
          </a:prstGeom>
        </p:spPr>
      </p:pic>
      <p:pic>
        <p:nvPicPr>
          <p:cNvPr id="7" name="Picture 6" descr="Map&#10;&#10;Description automatically generated">
            <a:extLst>
              <a:ext uri="{FF2B5EF4-FFF2-40B4-BE49-F238E27FC236}">
                <a16:creationId xmlns:a16="http://schemas.microsoft.com/office/drawing/2014/main" id="{84DCB519-9AA1-9134-F99D-11354E706F0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358458"/>
            <a:ext cx="6400800" cy="4141084"/>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B48929CB-1867-711C-D2B5-492797A49FDD}"/>
              </a:ext>
            </a:extLst>
          </p:cNvPr>
          <p:cNvPicPr preferRelativeResize="0"/>
          <p:nvPr/>
        </p:nvPicPr>
        <p:blipFill>
          <a:blip r:embed="rId2"/>
          <a:stretch>
            <a:fillRect/>
          </a:stretch>
        </p:blipFill>
        <p:spPr>
          <a:xfrm>
            <a:off x="152400" y="1753993"/>
            <a:ext cx="5370513" cy="3844925"/>
          </a:xfrm>
          <a:prstGeom prst="rect">
            <a:avLst/>
          </a:prstGeom>
        </p:spPr>
      </p:pic>
      <p:pic>
        <p:nvPicPr>
          <p:cNvPr id="7" name="Picture 6" descr="Map&#10;&#10;Description automatically generated">
            <a:extLst>
              <a:ext uri="{FF2B5EF4-FFF2-40B4-BE49-F238E27FC236}">
                <a16:creationId xmlns:a16="http://schemas.microsoft.com/office/drawing/2014/main" id="{7B48DADF-D6F6-9AFB-D23A-7EEF49D8C0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358458"/>
            <a:ext cx="6400800" cy="4141084"/>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27F15CE5-53AC-56C7-379C-4788C40DBB47}"/>
              </a:ext>
            </a:extLst>
          </p:cNvPr>
          <p:cNvPicPr preferRelativeResize="0"/>
          <p:nvPr/>
        </p:nvPicPr>
        <p:blipFill>
          <a:blip r:embed="rId2"/>
          <a:stretch>
            <a:fillRect/>
          </a:stretch>
        </p:blipFill>
        <p:spPr>
          <a:xfrm>
            <a:off x="149225" y="1743075"/>
            <a:ext cx="5389563" cy="3865563"/>
          </a:xfrm>
          <a:prstGeom prst="rect">
            <a:avLst/>
          </a:prstGeom>
        </p:spPr>
      </p:pic>
      <p:pic>
        <p:nvPicPr>
          <p:cNvPr id="6" name="Picture 5" descr="Map&#10;&#10;Description automatically generated">
            <a:extLst>
              <a:ext uri="{FF2B5EF4-FFF2-40B4-BE49-F238E27FC236}">
                <a16:creationId xmlns:a16="http://schemas.microsoft.com/office/drawing/2014/main" id="{A34CF6EC-1911-36C2-2B77-C1C925CB5CF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1975" y="1358458"/>
            <a:ext cx="6400800" cy="4141084"/>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578618E6-D281-974F-171D-18E78F753793}"/>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22A14F56-22CD-199B-5B7E-2766ED20144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354183"/>
            <a:ext cx="6414015" cy="4149634"/>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7C49E6C7-C75D-86AF-6FB4-D86EFEA17355}"/>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Diagram, map&#10;&#10;Description automatically generated">
            <a:extLst>
              <a:ext uri="{FF2B5EF4-FFF2-40B4-BE49-F238E27FC236}">
                <a16:creationId xmlns:a16="http://schemas.microsoft.com/office/drawing/2014/main" id="{CA215E8C-7CB0-A184-B434-20575C53929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43483" y="1357155"/>
            <a:ext cx="6404826" cy="4143689"/>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3E975D13-9903-3345-97FB-B38EDE922D96}"/>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E4BB71A8-5C33-A18D-8317-11B75BF30AD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358457"/>
            <a:ext cx="6400801" cy="4141085"/>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3E437584-CDCF-E1D7-2EF3-25B2161732C3}"/>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1C9C2CD-B53D-EA7D-1D46-8608626ADC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5719" y="1357461"/>
            <a:ext cx="6403881" cy="4143077"/>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E6D36EA4-05F6-DE03-51A9-F5EA3E19E6F3}"/>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DE59253F-13D7-1C3E-3D16-9334FB05B28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355376"/>
            <a:ext cx="6410326" cy="4147247"/>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E4D39304-95B3-60D1-3EC9-926571CA2BC3}"/>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EBF1B088-0D0D-B7A3-A6A1-82B25F4E7AA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358457"/>
            <a:ext cx="6400800" cy="4141085"/>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AC35A777-BC91-B68A-E78C-C2D4F329E504}"/>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4881640F-43C6-1A13-C2F7-648B4D8285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8449" y="1364814"/>
            <a:ext cx="6381151" cy="412837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033F4F8D-B1CA-0763-0218-6C8EB75C251F}"/>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BF317F41-A77C-DF2B-2313-B266770BC7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358457"/>
            <a:ext cx="6400801" cy="4141085"/>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98618DEC-DA00-85C1-7506-2D63731CA5F4}"/>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7" name="Picture 6" descr="Map&#10;&#10;Description automatically generated">
            <a:extLst>
              <a:ext uri="{FF2B5EF4-FFF2-40B4-BE49-F238E27FC236}">
                <a16:creationId xmlns:a16="http://schemas.microsoft.com/office/drawing/2014/main" id="{6CBE341B-2CA4-9B4A-0FA6-4BAC61A223A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355995"/>
            <a:ext cx="6408412" cy="4146009"/>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00D8D811-946F-7022-817D-646415A6553F}"/>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7" name="Picture 6" descr="Diagram, map&#10;&#10;Description automatically generated">
            <a:extLst>
              <a:ext uri="{FF2B5EF4-FFF2-40B4-BE49-F238E27FC236}">
                <a16:creationId xmlns:a16="http://schemas.microsoft.com/office/drawing/2014/main" id="{3E1AA0F8-2740-CE2A-96C7-CF919D17127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358457"/>
            <a:ext cx="6400801" cy="4141085"/>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E653C56D-7671-1979-E959-ADFE0EFA2247}"/>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8" name="Picture 7" descr="Map&#10;&#10;Description automatically generated">
            <a:extLst>
              <a:ext uri="{FF2B5EF4-FFF2-40B4-BE49-F238E27FC236}">
                <a16:creationId xmlns:a16="http://schemas.microsoft.com/office/drawing/2014/main" id="{77B431B9-3F18-2962-F964-026F58D9490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358457"/>
            <a:ext cx="6400800" cy="4141085"/>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94994F22-4BCB-F8AB-A831-DB124BE516A2}"/>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44AF8F48-028B-1107-4759-98B75E353C14}"/>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8" name="Picture 7" descr="Map&#10;&#10;Description automatically generated">
            <a:extLst>
              <a:ext uri="{FF2B5EF4-FFF2-40B4-BE49-F238E27FC236}">
                <a16:creationId xmlns:a16="http://schemas.microsoft.com/office/drawing/2014/main" id="{C9649655-2E3D-A6EF-CEB2-B9AA0E2FACD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357497"/>
            <a:ext cx="6403770" cy="4143006"/>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E424119B-7E6D-67F4-648C-EC141AF214C1}"/>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FD4F664C-5917-FEC7-4E45-C58E7010DBBC}"/>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5AA8F95-FD90-D4EE-91A2-EE1F7C2D8031}"/>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83452" y="2251718"/>
            <a:ext cx="1198148" cy="2195463"/>
            <a:chOff x="10485745" y="2686137"/>
            <a:chExt cx="1198148" cy="219546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38890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9</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68613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686137"/>
              <a:ext cx="0" cy="70277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281461"/>
              <a:ext cx="0" cy="60013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343614"/>
            <a:ext cx="1198148" cy="2171952"/>
            <a:chOff x="2775759" y="2320058"/>
            <a:chExt cx="1198148" cy="2171952"/>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991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1.7</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3200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3200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91653"/>
              <a:ext cx="0" cy="6003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798B6536-1065-3268-2757-21B667B2AB89}"/>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43418AA8-C1DC-FEB1-47DD-06A947B1858E}"/>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04F32BE8-235C-06E8-0A50-E4E0EA133A90}"/>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F93F3895-4CC3-BF51-8E1B-EC54219FD6BF}"/>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0E255713-D0BF-A9F5-0672-92E6C0DCCF50}"/>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CE671218-9381-C415-A998-9C557ABD4DF6}"/>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19F1BD82-E729-F912-BB77-4AA0C0CBC83E}"/>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BECC23C7-1A86-869E-DFD2-D4EF462DB801}"/>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94</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12</cp:revision>
  <dcterms:created xsi:type="dcterms:W3CDTF">2022-07-04T13:32:28Z</dcterms:created>
  <dcterms:modified xsi:type="dcterms:W3CDTF">2023-03-08T23:30:46Z</dcterms:modified>
</cp:coreProperties>
</file>